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7" r:id="rId2"/>
    <p:sldId id="264" r:id="rId3"/>
    <p:sldId id="259" r:id="rId4"/>
    <p:sldId id="260" r:id="rId5"/>
    <p:sldId id="262" r:id="rId6"/>
    <p:sldId id="269" r:id="rId7"/>
    <p:sldId id="267" r:id="rId8"/>
    <p:sldId id="265" r:id="rId9"/>
    <p:sldId id="273" r:id="rId10"/>
    <p:sldId id="274" r:id="rId11"/>
    <p:sldId id="275" r:id="rId12"/>
    <p:sldId id="276" r:id="rId13"/>
    <p:sldId id="27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6" autoAdjust="0"/>
    <p:restoredTop sz="94660"/>
  </p:normalViewPr>
  <p:slideViewPr>
    <p:cSldViewPr snapToGrid="0">
      <p:cViewPr varScale="1">
        <p:scale>
          <a:sx n="62" d="100"/>
          <a:sy n="62" d="100"/>
        </p:scale>
        <p:origin x="42" y="9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D Sco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Model 1</c:v>
                </c:pt>
                <c:pt idx="1">
                  <c:v>Model 2</c:v>
                </c:pt>
                <c:pt idx="2">
                  <c:v>Model 3</c:v>
                </c:pt>
                <c:pt idx="3">
                  <c:v>2 Unrelated traffic imag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1.37112426757801</c:v>
                </c:pt>
                <c:pt idx="1">
                  <c:v>222.63893127441401</c:v>
                </c:pt>
                <c:pt idx="2">
                  <c:v>175.92831420898401</c:v>
                </c:pt>
                <c:pt idx="3">
                  <c:v>322.459960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83-4CC0-8C11-8ED922816E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89947775"/>
        <c:axId val="1289933855"/>
      </c:barChart>
      <c:catAx>
        <c:axId val="12899477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33855"/>
        <c:crosses val="autoZero"/>
        <c:auto val="1"/>
        <c:lblAlgn val="ctr"/>
        <c:lblOffset val="100"/>
        <c:noMultiLvlLbl val="0"/>
      </c:catAx>
      <c:valAx>
        <c:axId val="12899338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477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D Sco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odel 1</c:v>
                </c:pt>
                <c:pt idx="1">
                  <c:v>Model 2</c:v>
                </c:pt>
                <c:pt idx="2">
                  <c:v>Model 3</c:v>
                </c:pt>
                <c:pt idx="3">
                  <c:v>2 Unrelated traffic images</c:v>
                </c:pt>
                <c:pt idx="4">
                  <c:v>Final Model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1.37112426757801</c:v>
                </c:pt>
                <c:pt idx="1">
                  <c:v>222.63893127441401</c:v>
                </c:pt>
                <c:pt idx="2">
                  <c:v>175.92831420898401</c:v>
                </c:pt>
                <c:pt idx="3">
                  <c:v>322.459960937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FA-47C4-9D60-16E5E1D98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89947775"/>
        <c:axId val="1289933855"/>
      </c:barChart>
      <c:catAx>
        <c:axId val="12899477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33855"/>
        <c:crosses val="autoZero"/>
        <c:auto val="1"/>
        <c:lblAlgn val="ctr"/>
        <c:lblOffset val="100"/>
        <c:noMultiLvlLbl val="0"/>
      </c:catAx>
      <c:valAx>
        <c:axId val="12899338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477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4" Type="http://schemas.openxmlformats.org/officeDocument/2006/relationships/image" Target="../media/image5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4" Type="http://schemas.openxmlformats.org/officeDocument/2006/relationships/image" Target="../media/image5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7B095-15CA-43AE-AF09-889C9C8E7AB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7EE24F99-FAD7-471A-A93B-F70FC806905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+mn-lt"/>
              <a:ea typeface="+mn-ea"/>
              <a:cs typeface="+mn-cs"/>
            </a:rPr>
            <a:t>MODERN MACHINE LEARNING MODELS DEMAND ENORMOUS DATASETS FOR TRAINING</a:t>
          </a:r>
          <a:endParaRPr lang="en-US" sz="1600" dirty="0"/>
        </a:p>
      </dgm:t>
    </dgm:pt>
    <dgm:pt modelId="{62137070-DF3A-4EDA-B36A-CEA2905B41FE}" type="parTrans" cxnId="{886593D7-9F8B-49A8-885E-B2C11896BA50}">
      <dgm:prSet/>
      <dgm:spPr/>
      <dgm:t>
        <a:bodyPr/>
        <a:lstStyle/>
        <a:p>
          <a:endParaRPr lang="en-US" sz="1600"/>
        </a:p>
      </dgm:t>
    </dgm:pt>
    <dgm:pt modelId="{6A1AE445-FF76-4B9F-8389-522BA3C5DBEA}" type="sibTrans" cxnId="{886593D7-9F8B-49A8-885E-B2C11896BA50}">
      <dgm:prSet/>
      <dgm:spPr/>
      <dgm:t>
        <a:bodyPr/>
        <a:lstStyle/>
        <a:p>
          <a:endParaRPr lang="en-US" sz="1600"/>
        </a:p>
      </dgm:t>
    </dgm:pt>
    <dgm:pt modelId="{9A0F0CD4-F016-4238-BE1E-418FFA695EA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+mn-lt"/>
              <a:ea typeface="+mn-ea"/>
              <a:cs typeface="+mn-cs"/>
            </a:rPr>
            <a:t>DATA COLLECTION, LABELING, AND PREPROCESSING ARE COSTLY AND TIME-INTENSIVE</a:t>
          </a:r>
          <a:endParaRPr lang="en-US" sz="1600" dirty="0"/>
        </a:p>
      </dgm:t>
    </dgm:pt>
    <dgm:pt modelId="{E35F5C55-4E68-434D-AE6E-8563B70ACA20}" type="parTrans" cxnId="{D770A263-A38C-4452-88FB-6DEEB9BB5E53}">
      <dgm:prSet/>
      <dgm:spPr/>
      <dgm:t>
        <a:bodyPr/>
        <a:lstStyle/>
        <a:p>
          <a:endParaRPr lang="en-US" sz="1600"/>
        </a:p>
      </dgm:t>
    </dgm:pt>
    <dgm:pt modelId="{E962A67D-5B7C-4386-AF09-F52A52B23AA4}" type="sibTrans" cxnId="{D770A263-A38C-4452-88FB-6DEEB9BB5E53}">
      <dgm:prSet/>
      <dgm:spPr/>
      <dgm:t>
        <a:bodyPr/>
        <a:lstStyle/>
        <a:p>
          <a:endParaRPr lang="en-US" sz="1600"/>
        </a:p>
      </dgm:t>
    </dgm:pt>
    <dgm:pt modelId="{7075E36E-DD80-41B9-BBE2-27F4356F24A8}" type="pres">
      <dgm:prSet presAssocID="{F507B095-15CA-43AE-AF09-889C9C8E7ABD}" presName="root" presStyleCnt="0">
        <dgm:presLayoutVars>
          <dgm:dir/>
          <dgm:resizeHandles val="exact"/>
        </dgm:presLayoutVars>
      </dgm:prSet>
      <dgm:spPr/>
    </dgm:pt>
    <dgm:pt modelId="{84E0491D-AC79-4743-A663-D6306FEDD1CB}" type="pres">
      <dgm:prSet presAssocID="{7EE24F99-FAD7-471A-A93B-F70FC806905D}" presName="compNode" presStyleCnt="0"/>
      <dgm:spPr/>
    </dgm:pt>
    <dgm:pt modelId="{0AE5A71E-6514-46CE-8861-BD1A76540B3E}" type="pres">
      <dgm:prSet presAssocID="{7EE24F99-FAD7-471A-A93B-F70FC806905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F409495F-3415-43EA-A811-863B8C195652}" type="pres">
      <dgm:prSet presAssocID="{7EE24F99-FAD7-471A-A93B-F70FC806905D}" presName="spaceRect" presStyleCnt="0"/>
      <dgm:spPr/>
    </dgm:pt>
    <dgm:pt modelId="{F744939F-9013-4161-9E40-294CCA1E85A8}" type="pres">
      <dgm:prSet presAssocID="{7EE24F99-FAD7-471A-A93B-F70FC806905D}" presName="textRect" presStyleLbl="revTx" presStyleIdx="0" presStyleCnt="2">
        <dgm:presLayoutVars>
          <dgm:chMax val="1"/>
          <dgm:chPref val="1"/>
        </dgm:presLayoutVars>
      </dgm:prSet>
      <dgm:spPr/>
    </dgm:pt>
    <dgm:pt modelId="{0D6154EE-A3D2-496E-A7AA-19953E8E91A6}" type="pres">
      <dgm:prSet presAssocID="{6A1AE445-FF76-4B9F-8389-522BA3C5DBEA}" presName="sibTrans" presStyleCnt="0"/>
      <dgm:spPr/>
    </dgm:pt>
    <dgm:pt modelId="{00F5FEB4-63E7-4195-952F-F061BE9431A2}" type="pres">
      <dgm:prSet presAssocID="{9A0F0CD4-F016-4238-BE1E-418FFA695EAB}" presName="compNode" presStyleCnt="0"/>
      <dgm:spPr/>
    </dgm:pt>
    <dgm:pt modelId="{DEEBD3DE-DD33-4F78-9922-C42B63CB4337}" type="pres">
      <dgm:prSet presAssocID="{9A0F0CD4-F016-4238-BE1E-418FFA695EAB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Zoom Out"/>
        </a:ext>
      </dgm:extLst>
    </dgm:pt>
    <dgm:pt modelId="{92BD88A7-58EF-466B-847C-BA85EC67AC3F}" type="pres">
      <dgm:prSet presAssocID="{9A0F0CD4-F016-4238-BE1E-418FFA695EAB}" presName="spaceRect" presStyleCnt="0"/>
      <dgm:spPr/>
    </dgm:pt>
    <dgm:pt modelId="{2713D5C2-1F6C-4194-9EF4-DB7FEC7B82C7}" type="pres">
      <dgm:prSet presAssocID="{9A0F0CD4-F016-4238-BE1E-418FFA695EAB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D676F632-51D9-451E-8EE5-9048D1C25D62}" type="presOf" srcId="{9A0F0CD4-F016-4238-BE1E-418FFA695EAB}" destId="{2713D5C2-1F6C-4194-9EF4-DB7FEC7B82C7}" srcOrd="0" destOrd="0" presId="urn:microsoft.com/office/officeart/2018/2/layout/IconLabelList"/>
    <dgm:cxn modelId="{D770A263-A38C-4452-88FB-6DEEB9BB5E53}" srcId="{F507B095-15CA-43AE-AF09-889C9C8E7ABD}" destId="{9A0F0CD4-F016-4238-BE1E-418FFA695EAB}" srcOrd="1" destOrd="0" parTransId="{E35F5C55-4E68-434D-AE6E-8563B70ACA20}" sibTransId="{E962A67D-5B7C-4386-AF09-F52A52B23AA4}"/>
    <dgm:cxn modelId="{4ADCBB6F-7538-4262-8839-E20132FF2017}" type="presOf" srcId="{7EE24F99-FAD7-471A-A93B-F70FC806905D}" destId="{F744939F-9013-4161-9E40-294CCA1E85A8}" srcOrd="0" destOrd="0" presId="urn:microsoft.com/office/officeart/2018/2/layout/IconLabelList"/>
    <dgm:cxn modelId="{A76806B0-F77D-4AB2-A222-F79CED1689CE}" type="presOf" srcId="{F507B095-15CA-43AE-AF09-889C9C8E7ABD}" destId="{7075E36E-DD80-41B9-BBE2-27F4356F24A8}" srcOrd="0" destOrd="0" presId="urn:microsoft.com/office/officeart/2018/2/layout/IconLabelList"/>
    <dgm:cxn modelId="{886593D7-9F8B-49A8-885E-B2C11896BA50}" srcId="{F507B095-15CA-43AE-AF09-889C9C8E7ABD}" destId="{7EE24F99-FAD7-471A-A93B-F70FC806905D}" srcOrd="0" destOrd="0" parTransId="{62137070-DF3A-4EDA-B36A-CEA2905B41FE}" sibTransId="{6A1AE445-FF76-4B9F-8389-522BA3C5DBEA}"/>
    <dgm:cxn modelId="{E3C8233F-8B23-4172-A60B-2A6F5E681B53}" type="presParOf" srcId="{7075E36E-DD80-41B9-BBE2-27F4356F24A8}" destId="{84E0491D-AC79-4743-A663-D6306FEDD1CB}" srcOrd="0" destOrd="0" presId="urn:microsoft.com/office/officeart/2018/2/layout/IconLabelList"/>
    <dgm:cxn modelId="{F3CBBF56-FC24-44DE-B3C6-2659A5799F0A}" type="presParOf" srcId="{84E0491D-AC79-4743-A663-D6306FEDD1CB}" destId="{0AE5A71E-6514-46CE-8861-BD1A76540B3E}" srcOrd="0" destOrd="0" presId="urn:microsoft.com/office/officeart/2018/2/layout/IconLabelList"/>
    <dgm:cxn modelId="{30E7FE52-80E0-477A-998C-935930CE37A6}" type="presParOf" srcId="{84E0491D-AC79-4743-A663-D6306FEDD1CB}" destId="{F409495F-3415-43EA-A811-863B8C195652}" srcOrd="1" destOrd="0" presId="urn:microsoft.com/office/officeart/2018/2/layout/IconLabelList"/>
    <dgm:cxn modelId="{7DDCBC9A-8203-4CB3-A352-226DBDB9D8AE}" type="presParOf" srcId="{84E0491D-AC79-4743-A663-D6306FEDD1CB}" destId="{F744939F-9013-4161-9E40-294CCA1E85A8}" srcOrd="2" destOrd="0" presId="urn:microsoft.com/office/officeart/2018/2/layout/IconLabelList"/>
    <dgm:cxn modelId="{9AB1184A-FB09-447B-8FE3-6519F4A7839A}" type="presParOf" srcId="{7075E36E-DD80-41B9-BBE2-27F4356F24A8}" destId="{0D6154EE-A3D2-496E-A7AA-19953E8E91A6}" srcOrd="1" destOrd="0" presId="urn:microsoft.com/office/officeart/2018/2/layout/IconLabelList"/>
    <dgm:cxn modelId="{8FF0E456-940F-4BDD-9AC1-FD59C4E39952}" type="presParOf" srcId="{7075E36E-DD80-41B9-BBE2-27F4356F24A8}" destId="{00F5FEB4-63E7-4195-952F-F061BE9431A2}" srcOrd="2" destOrd="0" presId="urn:microsoft.com/office/officeart/2018/2/layout/IconLabelList"/>
    <dgm:cxn modelId="{80B08581-FC7B-4227-9B38-EF42F322025F}" type="presParOf" srcId="{00F5FEB4-63E7-4195-952F-F061BE9431A2}" destId="{DEEBD3DE-DD33-4F78-9922-C42B63CB4337}" srcOrd="0" destOrd="0" presId="urn:microsoft.com/office/officeart/2018/2/layout/IconLabelList"/>
    <dgm:cxn modelId="{965632CD-20E3-42FE-9D31-443DBBE8D8A0}" type="presParOf" srcId="{00F5FEB4-63E7-4195-952F-F061BE9431A2}" destId="{92BD88A7-58EF-466B-847C-BA85EC67AC3F}" srcOrd="1" destOrd="0" presId="urn:microsoft.com/office/officeart/2018/2/layout/IconLabelList"/>
    <dgm:cxn modelId="{6D3D161E-6171-4665-A457-8B614FE17442}" type="presParOf" srcId="{00F5FEB4-63E7-4195-952F-F061BE9431A2}" destId="{2713D5C2-1F6C-4194-9EF4-DB7FEC7B82C7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07B095-15CA-43AE-AF09-889C9C8E7ABD}" type="doc">
      <dgm:prSet loTypeId="urn:microsoft.com/office/officeart/2018/5/layout/IconLeaf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7EE24F99-FAD7-471A-A93B-F70FC806905D}">
      <dgm:prSet custT="1"/>
      <dgm:spPr/>
      <dgm:t>
        <a:bodyPr/>
        <a:lstStyle/>
        <a:p>
          <a:pPr>
            <a:defRPr cap="all"/>
          </a:pPr>
          <a:r>
            <a:rPr lang="en-US" sz="1600" dirty="0"/>
            <a:t>Use Stable Diffusion to generate realistic synthetic data.</a:t>
          </a:r>
        </a:p>
      </dgm:t>
    </dgm:pt>
    <dgm:pt modelId="{62137070-DF3A-4EDA-B36A-CEA2905B41FE}" type="parTrans" cxnId="{886593D7-9F8B-49A8-885E-B2C11896BA50}">
      <dgm:prSet/>
      <dgm:spPr/>
      <dgm:t>
        <a:bodyPr/>
        <a:lstStyle/>
        <a:p>
          <a:endParaRPr lang="en-US" sz="1600"/>
        </a:p>
      </dgm:t>
    </dgm:pt>
    <dgm:pt modelId="{6A1AE445-FF76-4B9F-8389-522BA3C5DBEA}" type="sibTrans" cxnId="{886593D7-9F8B-49A8-885E-B2C11896BA50}">
      <dgm:prSet/>
      <dgm:spPr/>
      <dgm:t>
        <a:bodyPr/>
        <a:lstStyle/>
        <a:p>
          <a:endParaRPr lang="en-US" sz="1600"/>
        </a:p>
      </dgm:t>
    </dgm:pt>
    <dgm:pt modelId="{2FA6B052-F780-4069-BAEB-A08AF9078DCF}">
      <dgm:prSet custT="1"/>
      <dgm:spPr/>
      <dgm:t>
        <a:bodyPr/>
        <a:lstStyle/>
        <a:p>
          <a:pPr>
            <a:defRPr cap="all"/>
          </a:pPr>
          <a:r>
            <a:rPr lang="en-US" sz="1600"/>
            <a:t>Employ ControlNet for controlled and diverse image synthesis.</a:t>
          </a:r>
        </a:p>
      </dgm:t>
    </dgm:pt>
    <dgm:pt modelId="{C49BE064-33CA-418C-B5CA-627DE2B44E3E}" type="parTrans" cxnId="{2FAA331F-58C9-4208-B397-DEEF7D07744C}">
      <dgm:prSet/>
      <dgm:spPr/>
      <dgm:t>
        <a:bodyPr/>
        <a:lstStyle/>
        <a:p>
          <a:endParaRPr lang="en-US" sz="1600"/>
        </a:p>
      </dgm:t>
    </dgm:pt>
    <dgm:pt modelId="{A0D87FF1-7CE2-42B1-9974-1CAF91EFA2B6}" type="sibTrans" cxnId="{2FAA331F-58C9-4208-B397-DEEF7D07744C}">
      <dgm:prSet/>
      <dgm:spPr/>
      <dgm:t>
        <a:bodyPr/>
        <a:lstStyle/>
        <a:p>
          <a:endParaRPr lang="en-US" sz="1600"/>
        </a:p>
      </dgm:t>
    </dgm:pt>
    <dgm:pt modelId="{9A0F0CD4-F016-4238-BE1E-418FFA695EAB}">
      <dgm:prSet custT="1"/>
      <dgm:spPr/>
      <dgm:t>
        <a:bodyPr/>
        <a:lstStyle/>
        <a:p>
          <a:pPr>
            <a:defRPr cap="all"/>
          </a:pPr>
          <a:r>
            <a:rPr lang="en-US" sz="1600"/>
            <a:t>Focus application: generating varied traffic images.</a:t>
          </a:r>
        </a:p>
      </dgm:t>
    </dgm:pt>
    <dgm:pt modelId="{E35F5C55-4E68-434D-AE6E-8563B70ACA20}" type="parTrans" cxnId="{D770A263-A38C-4452-88FB-6DEEB9BB5E53}">
      <dgm:prSet/>
      <dgm:spPr/>
      <dgm:t>
        <a:bodyPr/>
        <a:lstStyle/>
        <a:p>
          <a:endParaRPr lang="en-US" sz="1600"/>
        </a:p>
      </dgm:t>
    </dgm:pt>
    <dgm:pt modelId="{E962A67D-5B7C-4386-AF09-F52A52B23AA4}" type="sibTrans" cxnId="{D770A263-A38C-4452-88FB-6DEEB9BB5E53}">
      <dgm:prSet/>
      <dgm:spPr/>
      <dgm:t>
        <a:bodyPr/>
        <a:lstStyle/>
        <a:p>
          <a:endParaRPr lang="en-US" sz="1600"/>
        </a:p>
      </dgm:t>
    </dgm:pt>
    <dgm:pt modelId="{7E9C75DB-1C34-4468-9152-32139761D559}" type="pres">
      <dgm:prSet presAssocID="{F507B095-15CA-43AE-AF09-889C9C8E7ABD}" presName="root" presStyleCnt="0">
        <dgm:presLayoutVars>
          <dgm:dir/>
          <dgm:resizeHandles val="exact"/>
        </dgm:presLayoutVars>
      </dgm:prSet>
      <dgm:spPr/>
    </dgm:pt>
    <dgm:pt modelId="{9EED004A-5935-43B8-B445-59CDB7146A35}" type="pres">
      <dgm:prSet presAssocID="{7EE24F99-FAD7-471A-A93B-F70FC806905D}" presName="compNode" presStyleCnt="0"/>
      <dgm:spPr/>
    </dgm:pt>
    <dgm:pt modelId="{8B8D177B-5AED-439F-94F3-7C79647863E4}" type="pres">
      <dgm:prSet presAssocID="{7EE24F99-FAD7-471A-A93B-F70FC806905D}" presName="iconBgRect" presStyleLbl="bgShp" presStyleIdx="0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3DD0B6B0-CF52-454E-B11B-E5F55C3A0DA3}" type="pres">
      <dgm:prSet presAssocID="{7EE24F99-FAD7-471A-A93B-F70FC806905D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NA"/>
        </a:ext>
      </dgm:extLst>
    </dgm:pt>
    <dgm:pt modelId="{FC3D4E57-4370-4672-BFEC-5078AD7771C9}" type="pres">
      <dgm:prSet presAssocID="{7EE24F99-FAD7-471A-A93B-F70FC806905D}" presName="spaceRect" presStyleCnt="0"/>
      <dgm:spPr/>
    </dgm:pt>
    <dgm:pt modelId="{996F1326-152A-42BE-9B1E-304D1246C2E4}" type="pres">
      <dgm:prSet presAssocID="{7EE24F99-FAD7-471A-A93B-F70FC806905D}" presName="textRect" presStyleLbl="revTx" presStyleIdx="0" presStyleCnt="3">
        <dgm:presLayoutVars>
          <dgm:chMax val="1"/>
          <dgm:chPref val="1"/>
        </dgm:presLayoutVars>
      </dgm:prSet>
      <dgm:spPr/>
    </dgm:pt>
    <dgm:pt modelId="{69187B59-251F-4FC4-9EC1-CA29028D89F6}" type="pres">
      <dgm:prSet presAssocID="{6A1AE445-FF76-4B9F-8389-522BA3C5DBEA}" presName="sibTrans" presStyleCnt="0"/>
      <dgm:spPr/>
    </dgm:pt>
    <dgm:pt modelId="{3A858F6D-9E98-4F6A-8CAD-EE803502127E}" type="pres">
      <dgm:prSet presAssocID="{2FA6B052-F780-4069-BAEB-A08AF9078DCF}" presName="compNode" presStyleCnt="0"/>
      <dgm:spPr/>
    </dgm:pt>
    <dgm:pt modelId="{A4B2F1AB-0DA9-4EA0-8D2B-18B57305FEA8}" type="pres">
      <dgm:prSet presAssocID="{2FA6B052-F780-4069-BAEB-A08AF9078DCF}" presName="iconBgRect" presStyleLbl="bgShp" presStyleIdx="1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B57D4512-18B2-45E9-846A-B7DF2B7482C1}" type="pres">
      <dgm:prSet presAssocID="{2FA6B052-F780-4069-BAEB-A08AF9078DC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eaker"/>
        </a:ext>
      </dgm:extLst>
    </dgm:pt>
    <dgm:pt modelId="{60E6EB58-054D-4A19-A1FD-300C7063CDF9}" type="pres">
      <dgm:prSet presAssocID="{2FA6B052-F780-4069-BAEB-A08AF9078DCF}" presName="spaceRect" presStyleCnt="0"/>
      <dgm:spPr/>
    </dgm:pt>
    <dgm:pt modelId="{77E070DB-6024-4EFD-B1E3-F078938AB7B2}" type="pres">
      <dgm:prSet presAssocID="{2FA6B052-F780-4069-BAEB-A08AF9078DCF}" presName="textRect" presStyleLbl="revTx" presStyleIdx="1" presStyleCnt="3">
        <dgm:presLayoutVars>
          <dgm:chMax val="1"/>
          <dgm:chPref val="1"/>
        </dgm:presLayoutVars>
      </dgm:prSet>
      <dgm:spPr/>
    </dgm:pt>
    <dgm:pt modelId="{1A829E77-5380-4D39-8A0E-D18D7726DF85}" type="pres">
      <dgm:prSet presAssocID="{A0D87FF1-7CE2-42B1-9974-1CAF91EFA2B6}" presName="sibTrans" presStyleCnt="0"/>
      <dgm:spPr/>
    </dgm:pt>
    <dgm:pt modelId="{3F5D5256-49E7-4623-A79B-722833C6C2AC}" type="pres">
      <dgm:prSet presAssocID="{9A0F0CD4-F016-4238-BE1E-418FFA695EAB}" presName="compNode" presStyleCnt="0"/>
      <dgm:spPr/>
    </dgm:pt>
    <dgm:pt modelId="{8654AA1F-461E-4C5D-AA61-3346263A9E86}" type="pres">
      <dgm:prSet presAssocID="{9A0F0CD4-F016-4238-BE1E-418FFA695EAB}" presName="iconBgRect" presStyleLbl="bgShp" presStyleIdx="2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51861873-7068-4337-9899-F2477CAC34C2}" type="pres">
      <dgm:prSet presAssocID="{9A0F0CD4-F016-4238-BE1E-418FFA695EAB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r"/>
        </a:ext>
      </dgm:extLst>
    </dgm:pt>
    <dgm:pt modelId="{F70A00CD-80B1-4B39-9CDD-0F2E2F861C9B}" type="pres">
      <dgm:prSet presAssocID="{9A0F0CD4-F016-4238-BE1E-418FFA695EAB}" presName="spaceRect" presStyleCnt="0"/>
      <dgm:spPr/>
    </dgm:pt>
    <dgm:pt modelId="{EB55C9CE-521E-45BB-9F13-778B7E9302F9}" type="pres">
      <dgm:prSet presAssocID="{9A0F0CD4-F016-4238-BE1E-418FFA695EAB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2FAA331F-58C9-4208-B397-DEEF7D07744C}" srcId="{F507B095-15CA-43AE-AF09-889C9C8E7ABD}" destId="{2FA6B052-F780-4069-BAEB-A08AF9078DCF}" srcOrd="1" destOrd="0" parTransId="{C49BE064-33CA-418C-B5CA-627DE2B44E3E}" sibTransId="{A0D87FF1-7CE2-42B1-9974-1CAF91EFA2B6}"/>
    <dgm:cxn modelId="{D770A263-A38C-4452-88FB-6DEEB9BB5E53}" srcId="{F507B095-15CA-43AE-AF09-889C9C8E7ABD}" destId="{9A0F0CD4-F016-4238-BE1E-418FFA695EAB}" srcOrd="2" destOrd="0" parTransId="{E35F5C55-4E68-434D-AE6E-8563B70ACA20}" sibTransId="{E962A67D-5B7C-4386-AF09-F52A52B23AA4}"/>
    <dgm:cxn modelId="{0F318D6D-27E2-4B45-8787-892660F300BD}" type="presOf" srcId="{F507B095-15CA-43AE-AF09-889C9C8E7ABD}" destId="{7E9C75DB-1C34-4468-9152-32139761D559}" srcOrd="0" destOrd="0" presId="urn:microsoft.com/office/officeart/2018/5/layout/IconLeafLabelList"/>
    <dgm:cxn modelId="{359A7572-30A7-4821-A59C-3417F1075C8B}" type="presOf" srcId="{9A0F0CD4-F016-4238-BE1E-418FFA695EAB}" destId="{EB55C9CE-521E-45BB-9F13-778B7E9302F9}" srcOrd="0" destOrd="0" presId="urn:microsoft.com/office/officeart/2018/5/layout/IconLeafLabelList"/>
    <dgm:cxn modelId="{0BB33659-184A-4521-99FF-463D0E58EBF1}" type="presOf" srcId="{2FA6B052-F780-4069-BAEB-A08AF9078DCF}" destId="{77E070DB-6024-4EFD-B1E3-F078938AB7B2}" srcOrd="0" destOrd="0" presId="urn:microsoft.com/office/officeart/2018/5/layout/IconLeafLabelList"/>
    <dgm:cxn modelId="{886593D7-9F8B-49A8-885E-B2C11896BA50}" srcId="{F507B095-15CA-43AE-AF09-889C9C8E7ABD}" destId="{7EE24F99-FAD7-471A-A93B-F70FC806905D}" srcOrd="0" destOrd="0" parTransId="{62137070-DF3A-4EDA-B36A-CEA2905B41FE}" sibTransId="{6A1AE445-FF76-4B9F-8389-522BA3C5DBEA}"/>
    <dgm:cxn modelId="{8A106DE0-5D05-4981-8F34-EFDC61942439}" type="presOf" srcId="{7EE24F99-FAD7-471A-A93B-F70FC806905D}" destId="{996F1326-152A-42BE-9B1E-304D1246C2E4}" srcOrd="0" destOrd="0" presId="urn:microsoft.com/office/officeart/2018/5/layout/IconLeafLabelList"/>
    <dgm:cxn modelId="{8DE422EB-CA17-41DB-AC7F-1797EDD15B77}" type="presParOf" srcId="{7E9C75DB-1C34-4468-9152-32139761D559}" destId="{9EED004A-5935-43B8-B445-59CDB7146A35}" srcOrd="0" destOrd="0" presId="urn:microsoft.com/office/officeart/2018/5/layout/IconLeafLabelList"/>
    <dgm:cxn modelId="{81383303-9093-40D9-A731-504DBE36D24C}" type="presParOf" srcId="{9EED004A-5935-43B8-B445-59CDB7146A35}" destId="{8B8D177B-5AED-439F-94F3-7C79647863E4}" srcOrd="0" destOrd="0" presId="urn:microsoft.com/office/officeart/2018/5/layout/IconLeafLabelList"/>
    <dgm:cxn modelId="{91DD77F5-B0CB-44E7-B0A0-798C968DD1B5}" type="presParOf" srcId="{9EED004A-5935-43B8-B445-59CDB7146A35}" destId="{3DD0B6B0-CF52-454E-B11B-E5F55C3A0DA3}" srcOrd="1" destOrd="0" presId="urn:microsoft.com/office/officeart/2018/5/layout/IconLeafLabelList"/>
    <dgm:cxn modelId="{2DB87A8B-3435-4C83-B874-53409369A57B}" type="presParOf" srcId="{9EED004A-5935-43B8-B445-59CDB7146A35}" destId="{FC3D4E57-4370-4672-BFEC-5078AD7771C9}" srcOrd="2" destOrd="0" presId="urn:microsoft.com/office/officeart/2018/5/layout/IconLeafLabelList"/>
    <dgm:cxn modelId="{01946412-F250-4B18-9D49-486512DCA39E}" type="presParOf" srcId="{9EED004A-5935-43B8-B445-59CDB7146A35}" destId="{996F1326-152A-42BE-9B1E-304D1246C2E4}" srcOrd="3" destOrd="0" presId="urn:microsoft.com/office/officeart/2018/5/layout/IconLeafLabelList"/>
    <dgm:cxn modelId="{4FDECE33-DB33-4D9E-A84D-8370A247005E}" type="presParOf" srcId="{7E9C75DB-1C34-4468-9152-32139761D559}" destId="{69187B59-251F-4FC4-9EC1-CA29028D89F6}" srcOrd="1" destOrd="0" presId="urn:microsoft.com/office/officeart/2018/5/layout/IconLeafLabelList"/>
    <dgm:cxn modelId="{94030D46-CE52-4EF8-9807-9EFB48FBC98D}" type="presParOf" srcId="{7E9C75DB-1C34-4468-9152-32139761D559}" destId="{3A858F6D-9E98-4F6A-8CAD-EE803502127E}" srcOrd="2" destOrd="0" presId="urn:microsoft.com/office/officeart/2018/5/layout/IconLeafLabelList"/>
    <dgm:cxn modelId="{64A9FD7C-7F1E-4C7A-A594-37ABAF0247C5}" type="presParOf" srcId="{3A858F6D-9E98-4F6A-8CAD-EE803502127E}" destId="{A4B2F1AB-0DA9-4EA0-8D2B-18B57305FEA8}" srcOrd="0" destOrd="0" presId="urn:microsoft.com/office/officeart/2018/5/layout/IconLeafLabelList"/>
    <dgm:cxn modelId="{FB4B3AA8-61E4-4E44-BC40-2678E5F7DBDC}" type="presParOf" srcId="{3A858F6D-9E98-4F6A-8CAD-EE803502127E}" destId="{B57D4512-18B2-45E9-846A-B7DF2B7482C1}" srcOrd="1" destOrd="0" presId="urn:microsoft.com/office/officeart/2018/5/layout/IconLeafLabelList"/>
    <dgm:cxn modelId="{0A9A963D-8043-4E4D-8AAB-65F835D173C3}" type="presParOf" srcId="{3A858F6D-9E98-4F6A-8CAD-EE803502127E}" destId="{60E6EB58-054D-4A19-A1FD-300C7063CDF9}" srcOrd="2" destOrd="0" presId="urn:microsoft.com/office/officeart/2018/5/layout/IconLeafLabelList"/>
    <dgm:cxn modelId="{6ACD6897-726F-40BC-B19F-C165BFCD7C32}" type="presParOf" srcId="{3A858F6D-9E98-4F6A-8CAD-EE803502127E}" destId="{77E070DB-6024-4EFD-B1E3-F078938AB7B2}" srcOrd="3" destOrd="0" presId="urn:microsoft.com/office/officeart/2018/5/layout/IconLeafLabelList"/>
    <dgm:cxn modelId="{A59B73DF-0BAD-4CF1-9D3B-B214CFF78086}" type="presParOf" srcId="{7E9C75DB-1C34-4468-9152-32139761D559}" destId="{1A829E77-5380-4D39-8A0E-D18D7726DF85}" srcOrd="3" destOrd="0" presId="urn:microsoft.com/office/officeart/2018/5/layout/IconLeafLabelList"/>
    <dgm:cxn modelId="{489AD775-B51C-4283-B079-27DF984BE4D1}" type="presParOf" srcId="{7E9C75DB-1C34-4468-9152-32139761D559}" destId="{3F5D5256-49E7-4623-A79B-722833C6C2AC}" srcOrd="4" destOrd="0" presId="urn:microsoft.com/office/officeart/2018/5/layout/IconLeafLabelList"/>
    <dgm:cxn modelId="{980B456D-941B-47AA-890B-B39B00CC25E8}" type="presParOf" srcId="{3F5D5256-49E7-4623-A79B-722833C6C2AC}" destId="{8654AA1F-461E-4C5D-AA61-3346263A9E86}" srcOrd="0" destOrd="0" presId="urn:microsoft.com/office/officeart/2018/5/layout/IconLeafLabelList"/>
    <dgm:cxn modelId="{2849AC98-EBAB-4547-BA9D-8CAF35AFC110}" type="presParOf" srcId="{3F5D5256-49E7-4623-A79B-722833C6C2AC}" destId="{51861873-7068-4337-9899-F2477CAC34C2}" srcOrd="1" destOrd="0" presId="urn:microsoft.com/office/officeart/2018/5/layout/IconLeafLabelList"/>
    <dgm:cxn modelId="{2FCC48AC-E163-46FA-8AA0-07D5B67297CE}" type="presParOf" srcId="{3F5D5256-49E7-4623-A79B-722833C6C2AC}" destId="{F70A00CD-80B1-4B39-9CDD-0F2E2F861C9B}" srcOrd="2" destOrd="0" presId="urn:microsoft.com/office/officeart/2018/5/layout/IconLeafLabelList"/>
    <dgm:cxn modelId="{86DA2267-CCF1-49DD-A5B3-CF6852A25354}" type="presParOf" srcId="{3F5D5256-49E7-4623-A79B-722833C6C2AC}" destId="{EB55C9CE-521E-45BB-9F13-778B7E9302F9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05E2A5-AD21-43F7-98E9-DBFD9DF9DA54}" type="doc">
      <dgm:prSet loTypeId="urn:microsoft.com/office/officeart/2018/2/layout/IconLabelList" loCatId="icon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EE43925-9A04-405C-ABC7-2D2DE73FA2C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COMBINED 4 DISTINCT TRAFFIC DATASETS FOR CONSISTENCY.</a:t>
          </a:r>
        </a:p>
      </dgm:t>
    </dgm:pt>
    <dgm:pt modelId="{8A9EF728-3224-4D25-9165-E5685C56809D}" type="parTrans" cxnId="{273F58EA-5B9C-4D42-8BDC-800E5FF5337A}">
      <dgm:prSet/>
      <dgm:spPr/>
      <dgm:t>
        <a:bodyPr/>
        <a:lstStyle/>
        <a:p>
          <a:endParaRPr lang="en-US" sz="1600"/>
        </a:p>
      </dgm:t>
    </dgm:pt>
    <dgm:pt modelId="{323CD341-C5F6-4D25-84A1-E59839DF5D8C}" type="sibTrans" cxnId="{273F58EA-5B9C-4D42-8BDC-800E5FF5337A}">
      <dgm:prSet/>
      <dgm:spPr/>
      <dgm:t>
        <a:bodyPr/>
        <a:lstStyle/>
        <a:p>
          <a:endParaRPr lang="en-US" sz="1600"/>
        </a:p>
      </dgm:t>
    </dgm:pt>
    <dgm:pt modelId="{0660624C-4D3B-469E-AC35-7495C7E77B3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DATASETS WERE PROCESSED TO ENSURE UNIFORM STYLE.</a:t>
          </a:r>
        </a:p>
      </dgm:t>
    </dgm:pt>
    <dgm:pt modelId="{327816EC-7986-46C0-9F92-4C6D7C0E2585}" type="parTrans" cxnId="{B51EE066-5FDE-46F2-9C67-CB60DEBB6E6E}">
      <dgm:prSet/>
      <dgm:spPr/>
      <dgm:t>
        <a:bodyPr/>
        <a:lstStyle/>
        <a:p>
          <a:endParaRPr lang="en-US" sz="1600"/>
        </a:p>
      </dgm:t>
    </dgm:pt>
    <dgm:pt modelId="{84C88D80-344B-42AC-9103-3B01C13F30F8}" type="sibTrans" cxnId="{B51EE066-5FDE-46F2-9C67-CB60DEBB6E6E}">
      <dgm:prSet/>
      <dgm:spPr/>
      <dgm:t>
        <a:bodyPr/>
        <a:lstStyle/>
        <a:p>
          <a:endParaRPr lang="en-US" sz="1600"/>
        </a:p>
      </dgm:t>
    </dgm:pt>
    <dgm:pt modelId="{436CEBB1-A658-4A16-816E-27E55A8785A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AUGMENTED SYNTHETIC IMAGES WITH DEPTH LAYERS GENERATED USING MIDAS FOR ENHANCED TRAINING QUALITY.</a:t>
          </a:r>
        </a:p>
      </dgm:t>
    </dgm:pt>
    <dgm:pt modelId="{4F765CE8-6707-4C47-8B74-A88BD7198BEE}" type="parTrans" cxnId="{C79A682D-B90C-45E2-9D1D-419C3DB1071B}">
      <dgm:prSet/>
      <dgm:spPr/>
      <dgm:t>
        <a:bodyPr/>
        <a:lstStyle/>
        <a:p>
          <a:endParaRPr lang="en-US" sz="1600"/>
        </a:p>
      </dgm:t>
    </dgm:pt>
    <dgm:pt modelId="{52712CF8-0F5D-4C6A-9583-896CF3CFBD49}" type="sibTrans" cxnId="{C79A682D-B90C-45E2-9D1D-419C3DB1071B}">
      <dgm:prSet/>
      <dgm:spPr/>
      <dgm:t>
        <a:bodyPr/>
        <a:lstStyle/>
        <a:p>
          <a:endParaRPr lang="en-US" sz="1600"/>
        </a:p>
      </dgm:t>
    </dgm:pt>
    <dgm:pt modelId="{6E1CED40-26D9-4685-AEB0-3F8FB263C2B7}" type="pres">
      <dgm:prSet presAssocID="{D805E2A5-AD21-43F7-98E9-DBFD9DF9DA54}" presName="root" presStyleCnt="0">
        <dgm:presLayoutVars>
          <dgm:dir/>
          <dgm:resizeHandles val="exact"/>
        </dgm:presLayoutVars>
      </dgm:prSet>
      <dgm:spPr/>
    </dgm:pt>
    <dgm:pt modelId="{4F0A72FF-10F2-415E-8798-1B3AA0E40892}" type="pres">
      <dgm:prSet presAssocID="{1EE43925-9A04-405C-ABC7-2D2DE73FA2C4}" presName="compNode" presStyleCnt="0"/>
      <dgm:spPr/>
    </dgm:pt>
    <dgm:pt modelId="{940BBA1E-CC9C-4966-B592-6301DDC0BCA7}" type="pres">
      <dgm:prSet presAssocID="{1EE43925-9A04-405C-ABC7-2D2DE73FA2C4}" presName="iconRect" presStyleLbl="nod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ilter"/>
        </a:ext>
      </dgm:extLst>
    </dgm:pt>
    <dgm:pt modelId="{68AE4A01-F511-4764-BD4D-4355C62AF964}" type="pres">
      <dgm:prSet presAssocID="{1EE43925-9A04-405C-ABC7-2D2DE73FA2C4}" presName="spaceRect" presStyleCnt="0"/>
      <dgm:spPr/>
    </dgm:pt>
    <dgm:pt modelId="{599F32C3-8823-4694-A08C-D854354BC3DB}" type="pres">
      <dgm:prSet presAssocID="{1EE43925-9A04-405C-ABC7-2D2DE73FA2C4}" presName="textRect" presStyleLbl="revTx" presStyleIdx="0" presStyleCnt="3">
        <dgm:presLayoutVars>
          <dgm:chMax val="1"/>
          <dgm:chPref val="1"/>
        </dgm:presLayoutVars>
      </dgm:prSet>
      <dgm:spPr/>
    </dgm:pt>
    <dgm:pt modelId="{349DBE83-A680-49D2-9382-F83FDFB166C6}" type="pres">
      <dgm:prSet presAssocID="{323CD341-C5F6-4D25-84A1-E59839DF5D8C}" presName="sibTrans" presStyleCnt="0"/>
      <dgm:spPr/>
    </dgm:pt>
    <dgm:pt modelId="{ECFD9647-7840-4904-B03B-A740F7911893}" type="pres">
      <dgm:prSet presAssocID="{0660624C-4D3B-469E-AC35-7495C7E77B36}" presName="compNode" presStyleCnt="0"/>
      <dgm:spPr/>
    </dgm:pt>
    <dgm:pt modelId="{2096B96A-D984-46AB-908A-51F0E0619E86}" type="pres">
      <dgm:prSet presAssocID="{0660624C-4D3B-469E-AC35-7495C7E77B36}" presName="iconRect" presStyleLbl="node1" presStyleIdx="1" presStyleCnt="3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able"/>
        </a:ext>
      </dgm:extLst>
    </dgm:pt>
    <dgm:pt modelId="{5F4AD5CC-545A-4483-B82E-0496A6EB9498}" type="pres">
      <dgm:prSet presAssocID="{0660624C-4D3B-469E-AC35-7495C7E77B36}" presName="spaceRect" presStyleCnt="0"/>
      <dgm:spPr/>
    </dgm:pt>
    <dgm:pt modelId="{448C5B4C-20A5-47E2-99AE-E4D9546D4F17}" type="pres">
      <dgm:prSet presAssocID="{0660624C-4D3B-469E-AC35-7495C7E77B36}" presName="textRect" presStyleLbl="revTx" presStyleIdx="1" presStyleCnt="3">
        <dgm:presLayoutVars>
          <dgm:chMax val="1"/>
          <dgm:chPref val="1"/>
        </dgm:presLayoutVars>
      </dgm:prSet>
      <dgm:spPr/>
    </dgm:pt>
    <dgm:pt modelId="{7AF58584-1169-4C73-908A-51272788E0B9}" type="pres">
      <dgm:prSet presAssocID="{84C88D80-344B-42AC-9103-3B01C13F30F8}" presName="sibTrans" presStyleCnt="0"/>
      <dgm:spPr/>
    </dgm:pt>
    <dgm:pt modelId="{5B23D402-8CA6-4A75-BBC3-D05B024A7BE8}" type="pres">
      <dgm:prSet presAssocID="{436CEBB1-A658-4A16-816E-27E55A8785AE}" presName="compNode" presStyleCnt="0"/>
      <dgm:spPr/>
    </dgm:pt>
    <dgm:pt modelId="{D567C7AC-341F-4E11-B5E7-FE4BEFF590B6}" type="pres">
      <dgm:prSet presAssocID="{436CEBB1-A658-4A16-816E-27E55A8785AE}" presName="iconRect" presStyleLbl="node1" presStyleIdx="2" presStyleCnt="3"/>
      <dgm:spPr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</dgm:spPr>
    </dgm:pt>
    <dgm:pt modelId="{D13BF2E7-14BA-4DAD-930A-8CBA640AF854}" type="pres">
      <dgm:prSet presAssocID="{436CEBB1-A658-4A16-816E-27E55A8785AE}" presName="spaceRect" presStyleCnt="0"/>
      <dgm:spPr/>
    </dgm:pt>
    <dgm:pt modelId="{678773C0-ADA9-4B98-B5ED-4887227FCDE9}" type="pres">
      <dgm:prSet presAssocID="{436CEBB1-A658-4A16-816E-27E55A8785AE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AF2DB216-91DC-46FE-BFEB-E1FAB5D90E27}" type="presOf" srcId="{1EE43925-9A04-405C-ABC7-2D2DE73FA2C4}" destId="{599F32C3-8823-4694-A08C-D854354BC3DB}" srcOrd="0" destOrd="0" presId="urn:microsoft.com/office/officeart/2018/2/layout/IconLabelList"/>
    <dgm:cxn modelId="{C79A682D-B90C-45E2-9D1D-419C3DB1071B}" srcId="{D805E2A5-AD21-43F7-98E9-DBFD9DF9DA54}" destId="{436CEBB1-A658-4A16-816E-27E55A8785AE}" srcOrd="2" destOrd="0" parTransId="{4F765CE8-6707-4C47-8B74-A88BD7198BEE}" sibTransId="{52712CF8-0F5D-4C6A-9583-896CF3CFBD49}"/>
    <dgm:cxn modelId="{B51EE066-5FDE-46F2-9C67-CB60DEBB6E6E}" srcId="{D805E2A5-AD21-43F7-98E9-DBFD9DF9DA54}" destId="{0660624C-4D3B-469E-AC35-7495C7E77B36}" srcOrd="1" destOrd="0" parTransId="{327816EC-7986-46C0-9F92-4C6D7C0E2585}" sibTransId="{84C88D80-344B-42AC-9103-3B01C13F30F8}"/>
    <dgm:cxn modelId="{BC2A5F9E-870F-498F-9FA1-01BF637C09F2}" type="presOf" srcId="{D805E2A5-AD21-43F7-98E9-DBFD9DF9DA54}" destId="{6E1CED40-26D9-4685-AEB0-3F8FB263C2B7}" srcOrd="0" destOrd="0" presId="urn:microsoft.com/office/officeart/2018/2/layout/IconLabelList"/>
    <dgm:cxn modelId="{832F88CE-79FE-4483-8532-BCA1962E689C}" type="presOf" srcId="{0660624C-4D3B-469E-AC35-7495C7E77B36}" destId="{448C5B4C-20A5-47E2-99AE-E4D9546D4F17}" srcOrd="0" destOrd="0" presId="urn:microsoft.com/office/officeart/2018/2/layout/IconLabelList"/>
    <dgm:cxn modelId="{273F58EA-5B9C-4D42-8BDC-800E5FF5337A}" srcId="{D805E2A5-AD21-43F7-98E9-DBFD9DF9DA54}" destId="{1EE43925-9A04-405C-ABC7-2D2DE73FA2C4}" srcOrd="0" destOrd="0" parTransId="{8A9EF728-3224-4D25-9165-E5685C56809D}" sibTransId="{323CD341-C5F6-4D25-84A1-E59839DF5D8C}"/>
    <dgm:cxn modelId="{799729FF-C5FA-4AEB-AF17-62B3A7895DB5}" type="presOf" srcId="{436CEBB1-A658-4A16-816E-27E55A8785AE}" destId="{678773C0-ADA9-4B98-B5ED-4887227FCDE9}" srcOrd="0" destOrd="0" presId="urn:microsoft.com/office/officeart/2018/2/layout/IconLabelList"/>
    <dgm:cxn modelId="{720F4889-813B-421E-9DC3-726BF25479AF}" type="presParOf" srcId="{6E1CED40-26D9-4685-AEB0-3F8FB263C2B7}" destId="{4F0A72FF-10F2-415E-8798-1B3AA0E40892}" srcOrd="0" destOrd="0" presId="urn:microsoft.com/office/officeart/2018/2/layout/IconLabelList"/>
    <dgm:cxn modelId="{CB7BC062-6F3C-4DE3-9B6D-0B94EA00F631}" type="presParOf" srcId="{4F0A72FF-10F2-415E-8798-1B3AA0E40892}" destId="{940BBA1E-CC9C-4966-B592-6301DDC0BCA7}" srcOrd="0" destOrd="0" presId="urn:microsoft.com/office/officeart/2018/2/layout/IconLabelList"/>
    <dgm:cxn modelId="{7C832411-4C26-40C9-ADC1-8087C8611218}" type="presParOf" srcId="{4F0A72FF-10F2-415E-8798-1B3AA0E40892}" destId="{68AE4A01-F511-4764-BD4D-4355C62AF964}" srcOrd="1" destOrd="0" presId="urn:microsoft.com/office/officeart/2018/2/layout/IconLabelList"/>
    <dgm:cxn modelId="{D4662CFC-BD52-45CB-97D8-EB971834AE37}" type="presParOf" srcId="{4F0A72FF-10F2-415E-8798-1B3AA0E40892}" destId="{599F32C3-8823-4694-A08C-D854354BC3DB}" srcOrd="2" destOrd="0" presId="urn:microsoft.com/office/officeart/2018/2/layout/IconLabelList"/>
    <dgm:cxn modelId="{64E5868D-0C15-4875-8EA0-12EDE5BE7244}" type="presParOf" srcId="{6E1CED40-26D9-4685-AEB0-3F8FB263C2B7}" destId="{349DBE83-A680-49D2-9382-F83FDFB166C6}" srcOrd="1" destOrd="0" presId="urn:microsoft.com/office/officeart/2018/2/layout/IconLabelList"/>
    <dgm:cxn modelId="{700694B1-D1A3-45C4-B269-1C0DB586565E}" type="presParOf" srcId="{6E1CED40-26D9-4685-AEB0-3F8FB263C2B7}" destId="{ECFD9647-7840-4904-B03B-A740F7911893}" srcOrd="2" destOrd="0" presId="urn:microsoft.com/office/officeart/2018/2/layout/IconLabelList"/>
    <dgm:cxn modelId="{F664601B-3348-4072-B4CE-83D849B743C9}" type="presParOf" srcId="{ECFD9647-7840-4904-B03B-A740F7911893}" destId="{2096B96A-D984-46AB-908A-51F0E0619E86}" srcOrd="0" destOrd="0" presId="urn:microsoft.com/office/officeart/2018/2/layout/IconLabelList"/>
    <dgm:cxn modelId="{345BC4CC-EF99-4B6C-92BB-4CC479ED8AEA}" type="presParOf" srcId="{ECFD9647-7840-4904-B03B-A740F7911893}" destId="{5F4AD5CC-545A-4483-B82E-0496A6EB9498}" srcOrd="1" destOrd="0" presId="urn:microsoft.com/office/officeart/2018/2/layout/IconLabelList"/>
    <dgm:cxn modelId="{80972951-C748-44EB-A9D3-C2DBEEF9B99D}" type="presParOf" srcId="{ECFD9647-7840-4904-B03B-A740F7911893}" destId="{448C5B4C-20A5-47E2-99AE-E4D9546D4F17}" srcOrd="2" destOrd="0" presId="urn:microsoft.com/office/officeart/2018/2/layout/IconLabelList"/>
    <dgm:cxn modelId="{B4CA824A-1B21-474D-8615-94088A6057EA}" type="presParOf" srcId="{6E1CED40-26D9-4685-AEB0-3F8FB263C2B7}" destId="{7AF58584-1169-4C73-908A-51272788E0B9}" srcOrd="3" destOrd="0" presId="urn:microsoft.com/office/officeart/2018/2/layout/IconLabelList"/>
    <dgm:cxn modelId="{F221C6CC-6A7E-4712-8BCF-F9017D60DB18}" type="presParOf" srcId="{6E1CED40-26D9-4685-AEB0-3F8FB263C2B7}" destId="{5B23D402-8CA6-4A75-BBC3-D05B024A7BE8}" srcOrd="4" destOrd="0" presId="urn:microsoft.com/office/officeart/2018/2/layout/IconLabelList"/>
    <dgm:cxn modelId="{2D002871-8EF7-47BF-B6C0-66E297A73F11}" type="presParOf" srcId="{5B23D402-8CA6-4A75-BBC3-D05B024A7BE8}" destId="{D567C7AC-341F-4E11-B5E7-FE4BEFF590B6}" srcOrd="0" destOrd="0" presId="urn:microsoft.com/office/officeart/2018/2/layout/IconLabelList"/>
    <dgm:cxn modelId="{F57CAB8E-E312-4166-8F31-CDEB7E1687C7}" type="presParOf" srcId="{5B23D402-8CA6-4A75-BBC3-D05B024A7BE8}" destId="{D13BF2E7-14BA-4DAD-930A-8CBA640AF854}" srcOrd="1" destOrd="0" presId="urn:microsoft.com/office/officeart/2018/2/layout/IconLabelList"/>
    <dgm:cxn modelId="{5E60744E-0022-43E1-BEA4-9078A8DB2A84}" type="presParOf" srcId="{5B23D402-8CA6-4A75-BBC3-D05B024A7BE8}" destId="{678773C0-ADA9-4B98-B5ED-4887227FCDE9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E5A71E-6514-46CE-8861-BD1A76540B3E}">
      <dsp:nvSpPr>
        <dsp:cNvPr id="0" name=""/>
        <dsp:cNvSpPr/>
      </dsp:nvSpPr>
      <dsp:spPr>
        <a:xfrm>
          <a:off x="1953914" y="502871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44939F-9013-4161-9E40-294CCA1E85A8}">
      <dsp:nvSpPr>
        <dsp:cNvPr id="0" name=""/>
        <dsp:cNvSpPr/>
      </dsp:nvSpPr>
      <dsp:spPr>
        <a:xfrm>
          <a:off x="765914" y="2924933"/>
          <a:ext cx="432000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n-lt"/>
              <a:ea typeface="+mn-ea"/>
              <a:cs typeface="+mn-cs"/>
            </a:rPr>
            <a:t>MODERN MACHINE LEARNING MODELS DEMAND ENORMOUS DATASETS FOR TRAINING</a:t>
          </a:r>
          <a:endParaRPr lang="en-US" sz="1600" kern="1200" dirty="0"/>
        </a:p>
      </dsp:txBody>
      <dsp:txXfrm>
        <a:off x="765914" y="2924933"/>
        <a:ext cx="4320000" cy="765000"/>
      </dsp:txXfrm>
    </dsp:sp>
    <dsp:sp modelId="{DEEBD3DE-DD33-4F78-9922-C42B63CB4337}">
      <dsp:nvSpPr>
        <dsp:cNvPr id="0" name=""/>
        <dsp:cNvSpPr/>
      </dsp:nvSpPr>
      <dsp:spPr>
        <a:xfrm>
          <a:off x="7029914" y="502871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3D5C2-1F6C-4194-9EF4-DB7FEC7B82C7}">
      <dsp:nvSpPr>
        <dsp:cNvPr id="0" name=""/>
        <dsp:cNvSpPr/>
      </dsp:nvSpPr>
      <dsp:spPr>
        <a:xfrm>
          <a:off x="5841914" y="2924933"/>
          <a:ext cx="432000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n-lt"/>
              <a:ea typeface="+mn-ea"/>
              <a:cs typeface="+mn-cs"/>
            </a:rPr>
            <a:t>DATA COLLECTION, LABELING, AND PREPROCESSING ARE COSTLY AND TIME-INTENSIVE</a:t>
          </a:r>
          <a:endParaRPr lang="en-US" sz="1600" kern="1200" dirty="0"/>
        </a:p>
      </dsp:txBody>
      <dsp:txXfrm>
        <a:off x="5841914" y="2924933"/>
        <a:ext cx="4320000" cy="765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8D177B-5AED-439F-94F3-7C79647863E4}">
      <dsp:nvSpPr>
        <dsp:cNvPr id="0" name=""/>
        <dsp:cNvSpPr/>
      </dsp:nvSpPr>
      <dsp:spPr>
        <a:xfrm>
          <a:off x="718664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D0B6B0-CF52-454E-B11B-E5F55C3A0DA3}">
      <dsp:nvSpPr>
        <dsp:cNvPr id="0" name=""/>
        <dsp:cNvSpPr/>
      </dsp:nvSpPr>
      <dsp:spPr>
        <a:xfrm>
          <a:off x="1135476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6F1326-152A-42BE-9B1E-304D1246C2E4}">
      <dsp:nvSpPr>
        <dsp:cNvPr id="0" name=""/>
        <dsp:cNvSpPr/>
      </dsp:nvSpPr>
      <dsp:spPr>
        <a:xfrm>
          <a:off x="93445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dirty="0"/>
            <a:t>Use Stable Diffusion to generate realistic synthetic data.</a:t>
          </a:r>
        </a:p>
      </dsp:txBody>
      <dsp:txXfrm>
        <a:off x="93445" y="3018902"/>
        <a:ext cx="3206250" cy="720000"/>
      </dsp:txXfrm>
    </dsp:sp>
    <dsp:sp modelId="{A4B2F1AB-0DA9-4EA0-8D2B-18B57305FEA8}">
      <dsp:nvSpPr>
        <dsp:cNvPr id="0" name=""/>
        <dsp:cNvSpPr/>
      </dsp:nvSpPr>
      <dsp:spPr>
        <a:xfrm>
          <a:off x="4486008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7D4512-18B2-45E9-846A-B7DF2B7482C1}">
      <dsp:nvSpPr>
        <dsp:cNvPr id="0" name=""/>
        <dsp:cNvSpPr/>
      </dsp:nvSpPr>
      <dsp:spPr>
        <a:xfrm>
          <a:off x="4902820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E070DB-6024-4EFD-B1E3-F078938AB7B2}">
      <dsp:nvSpPr>
        <dsp:cNvPr id="0" name=""/>
        <dsp:cNvSpPr/>
      </dsp:nvSpPr>
      <dsp:spPr>
        <a:xfrm>
          <a:off x="3860789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/>
            <a:t>Employ ControlNet for controlled and diverse image synthesis.</a:t>
          </a:r>
        </a:p>
      </dsp:txBody>
      <dsp:txXfrm>
        <a:off x="3860789" y="3018902"/>
        <a:ext cx="3206250" cy="720000"/>
      </dsp:txXfrm>
    </dsp:sp>
    <dsp:sp modelId="{8654AA1F-461E-4C5D-AA61-3346263A9E86}">
      <dsp:nvSpPr>
        <dsp:cNvPr id="0" name=""/>
        <dsp:cNvSpPr/>
      </dsp:nvSpPr>
      <dsp:spPr>
        <a:xfrm>
          <a:off x="8253352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861873-7068-4337-9899-F2477CAC34C2}">
      <dsp:nvSpPr>
        <dsp:cNvPr id="0" name=""/>
        <dsp:cNvSpPr/>
      </dsp:nvSpPr>
      <dsp:spPr>
        <a:xfrm>
          <a:off x="8670164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55C9CE-521E-45BB-9F13-778B7E9302F9}">
      <dsp:nvSpPr>
        <dsp:cNvPr id="0" name=""/>
        <dsp:cNvSpPr/>
      </dsp:nvSpPr>
      <dsp:spPr>
        <a:xfrm>
          <a:off x="7628133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/>
            <a:t>Focus application: generating varied traffic images.</a:t>
          </a:r>
        </a:p>
      </dsp:txBody>
      <dsp:txXfrm>
        <a:off x="7628133" y="3018902"/>
        <a:ext cx="320625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0BBA1E-CC9C-4966-B592-6301DDC0BCA7}">
      <dsp:nvSpPr>
        <dsp:cNvPr id="0" name=""/>
        <dsp:cNvSpPr/>
      </dsp:nvSpPr>
      <dsp:spPr>
        <a:xfrm>
          <a:off x="947201" y="646529"/>
          <a:ext cx="1451800" cy="1451800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9F32C3-8823-4694-A08C-D854354BC3DB}">
      <dsp:nvSpPr>
        <dsp:cNvPr id="0" name=""/>
        <dsp:cNvSpPr/>
      </dsp:nvSpPr>
      <dsp:spPr>
        <a:xfrm>
          <a:off x="59990" y="2533775"/>
          <a:ext cx="3226223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BINED 4 DISTINCT TRAFFIC DATASETS FOR CONSISTENCY.</a:t>
          </a:r>
        </a:p>
      </dsp:txBody>
      <dsp:txXfrm>
        <a:off x="59990" y="2533775"/>
        <a:ext cx="3226223" cy="1012500"/>
      </dsp:txXfrm>
    </dsp:sp>
    <dsp:sp modelId="{2096B96A-D984-46AB-908A-51F0E0619E86}">
      <dsp:nvSpPr>
        <dsp:cNvPr id="0" name=""/>
        <dsp:cNvSpPr/>
      </dsp:nvSpPr>
      <dsp:spPr>
        <a:xfrm>
          <a:off x="4738014" y="646529"/>
          <a:ext cx="1451800" cy="1451800"/>
        </a:xfrm>
        <a:prstGeom prst="rect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8C5B4C-20A5-47E2-99AE-E4D9546D4F17}">
      <dsp:nvSpPr>
        <dsp:cNvPr id="0" name=""/>
        <dsp:cNvSpPr/>
      </dsp:nvSpPr>
      <dsp:spPr>
        <a:xfrm>
          <a:off x="3850802" y="2533775"/>
          <a:ext cx="3226223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ATASETS WERE PROCESSED TO ENSURE UNIFORM STYLE.</a:t>
          </a:r>
        </a:p>
      </dsp:txBody>
      <dsp:txXfrm>
        <a:off x="3850802" y="2533775"/>
        <a:ext cx="3226223" cy="1012500"/>
      </dsp:txXfrm>
    </dsp:sp>
    <dsp:sp modelId="{D567C7AC-341F-4E11-B5E7-FE4BEFF590B6}">
      <dsp:nvSpPr>
        <dsp:cNvPr id="0" name=""/>
        <dsp:cNvSpPr/>
      </dsp:nvSpPr>
      <dsp:spPr>
        <a:xfrm>
          <a:off x="8528826" y="646529"/>
          <a:ext cx="1451800" cy="1451800"/>
        </a:xfrm>
        <a:prstGeom prst="rect">
          <a:avLst/>
        </a:prstGeom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8773C0-ADA9-4B98-B5ED-4887227FCDE9}">
      <dsp:nvSpPr>
        <dsp:cNvPr id="0" name=""/>
        <dsp:cNvSpPr/>
      </dsp:nvSpPr>
      <dsp:spPr>
        <a:xfrm>
          <a:off x="7641615" y="2533775"/>
          <a:ext cx="3226223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UGMENTED SYNTHETIC IMAGES WITH DEPTH LAYERS GENERATED USING MIDAS FOR ENHANCED TRAINING QUALITY.</a:t>
          </a:r>
        </a:p>
      </dsp:txBody>
      <dsp:txXfrm>
        <a:off x="7641615" y="2533775"/>
        <a:ext cx="3226223" cy="1012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44D07-14B9-E66F-129B-6DB9C47E62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300437-2811-478E-E46A-9F55C3FC89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8FAB2F-806A-5593-40CB-582528416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D3F14-F637-E32E-1AFE-A1711740C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0733-6ECD-0CDD-F4A3-D7072F5D9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264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F8381-9937-32A3-78D1-73B5DCEAF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F43EAD-0259-2CB7-A5D9-7A888D1865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6016B2-4CC4-FE85-EE79-C58D8314C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582A5-8E3F-7BA6-D2D3-9D59F073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CACB82-9AED-8AF7-AF56-0C62B719A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172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14BDC8-C777-C9E3-9594-43951203D8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2CAF58-EAED-B225-F34C-665CB44B96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B60C07-01CE-4C6F-74D1-5D3659C78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B080A-B4F7-7808-52A9-029C6FCC4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6BE86A-A891-E2EF-F96E-8FCAA6ACC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411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0363201" y="685800"/>
            <a:ext cx="1216083" cy="11195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12717" y="1518024"/>
            <a:ext cx="9312227" cy="488279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55618" lvl="0" indent="-304815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20667" y="685800"/>
            <a:ext cx="9312227" cy="654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837581" y="0"/>
            <a:ext cx="354419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50803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24874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096000" y="425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12717" y="2486212"/>
            <a:ext cx="5019457" cy="39145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04815" lvl="0" indent="-254013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12775" y="1509183"/>
            <a:ext cx="5019457" cy="97702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612775" y="425900"/>
            <a:ext cx="914400" cy="914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0" y="6400800"/>
            <a:ext cx="3422650" cy="452967"/>
          </a:xfrm>
        </p:spPr>
        <p:txBody>
          <a:bodyPr>
            <a:normAutofit/>
          </a:bodyPr>
          <a:lstStyle>
            <a:lvl1pPr marL="50803" indent="0">
              <a:buNone/>
              <a:defRPr sz="733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429107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20637" y="425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586331" y="2472300"/>
            <a:ext cx="4992953" cy="39285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04815" lvl="0" indent="-254013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586331" y="1509183"/>
            <a:ext cx="4992953" cy="96311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0668000" y="425900"/>
            <a:ext cx="914400" cy="914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6400800"/>
            <a:ext cx="3422650" cy="452967"/>
          </a:xfrm>
        </p:spPr>
        <p:txBody>
          <a:bodyPr>
            <a:normAutofit/>
          </a:bodyPr>
          <a:lstStyle>
            <a:lvl1pPr marL="50803" indent="0">
              <a:buNone/>
              <a:defRPr sz="733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809228" y="0"/>
            <a:ext cx="381713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0758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4250"/>
            <a:ext cx="12192001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4250"/>
            <a:ext cx="12191999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612775" y="425900"/>
            <a:ext cx="914400" cy="914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6400800"/>
            <a:ext cx="3422650" cy="452967"/>
          </a:xfrm>
        </p:spPr>
        <p:txBody>
          <a:bodyPr>
            <a:normAutofit/>
          </a:bodyPr>
          <a:lstStyle>
            <a:lvl1pPr marL="50803" indent="0">
              <a:buNone/>
              <a:defRPr sz="733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1780989" y="3912861"/>
            <a:ext cx="8887012" cy="183938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0803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1780988" y="1509184"/>
            <a:ext cx="8887012" cy="191981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58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66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09BF16-B9C4-1A2D-A42D-914650449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5023F6-5EB5-DD3E-6A1F-32F2D2864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7A561D-1A86-2654-485C-2AC6BCF6B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E4853-D305-EA10-777F-FAD357FCC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77E6F-3A55-3357-7878-93F355E3A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966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6DAE1-68AE-6097-93FA-AAFC7F1B5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09966-B414-2B46-CB9E-E3890E994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1DC49E-58C7-3954-F9A6-65468EE1D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F9E1F-183B-BE55-67A2-9DE207C2B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C2777-0108-6183-A77A-D15A36B57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467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1D41-FFBD-01B0-D19B-8E47D2B8B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710D4D-6CC3-7BC2-CC72-3ADF395E9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E7379D-25C6-015F-46DC-24869319F6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44D7E2-0D61-3001-AA46-0EFD0792F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9D8D9D-2291-8F6D-B883-23194865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E871A1-B587-E139-8A8F-10E634C7B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432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FBD59-B442-03E6-2F22-28A242527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EC9346-E9D6-EE33-D269-C9A5A08C48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27C96B-173D-10A7-9CC6-EED57ECC6D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F266C2-2FB5-8E1F-6AD2-A4D8563B63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FDCDC1-5680-24D7-B9B8-B01CD58B34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94D8F3-2EA7-8101-04CC-1EC3E0BB6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21DDB5-BCA3-CC54-0C08-E4D50CA94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9018D1-6FAC-77B3-AC35-1F6F6CA4D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213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9812A-0AC3-7E59-EDFB-790571D1D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4D2CB5-94D0-3371-C6BE-23C219934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3DC235-022F-5489-8023-4A3F3948E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E527DE-6995-285B-5076-A1CF6EE42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54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EB7DF4-B314-0E0D-DB34-8CD52EEB2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F92158-DCA8-3C4D-D960-7B661EF5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2BE7CF-3545-E2C9-91E4-D74C446EB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625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5AFD2-3F8C-BC16-F21B-BEB04CDB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378BDA-7E82-5226-CCBD-8F640E297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61DCF-9D8D-C8B8-583F-BAFB2E55D0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7CB29A-1C6A-6989-374E-13C5CA5E0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D9C3CC-31DC-C067-B08C-222C89DC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54F794-6E65-D282-0215-2E13DBFA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95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67739-17A0-8C27-483B-26FA4E4E1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77DC81A-3E9B-8A24-F2AF-CDF6BC5154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B6EE9-288C-74C3-5C3A-B778FF39A9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33F028-1923-A06B-7288-CA017D57A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B1E9D2-B3D6-6124-4635-F73BC76B4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79F4C-2EB3-6DF3-1D48-A638A3B29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41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E4EC6C8-CB90-0F33-740F-9312D79D8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BE6018-75EA-35D0-3770-16142FB06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D1BBE7-EAA0-72EA-EB5B-8393A2809F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4A58B0-F001-8E3D-B535-DDBEFE5F88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4FC75-195E-A34F-E77C-056845E3FF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27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DACE5C-7BD1-7AC0-205A-E60E223F31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0758" y="1791057"/>
            <a:ext cx="10841318" cy="746204"/>
          </a:xfrm>
        </p:spPr>
        <p:txBody>
          <a:bodyPr anchor="b">
            <a:noAutofit/>
          </a:bodyPr>
          <a:lstStyle/>
          <a:p>
            <a:pPr algn="l"/>
            <a:r>
              <a:rPr lang="en-US" sz="5400" dirty="0">
                <a:solidFill>
                  <a:srgbClr val="FFFFFF"/>
                </a:solidFill>
              </a:rPr>
              <a:t>Stable Diffusion Data Augm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D461A2-FD3C-5FAD-CA4B-A301B3B8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0682" y="4870824"/>
            <a:ext cx="10005951" cy="1458258"/>
          </a:xfrm>
        </p:spPr>
        <p:txBody>
          <a:bodyPr anchor="ctr"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o-RO" dirty="0"/>
              <a:t>Eduard-Mitruț Roșc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o-RO" dirty="0"/>
              <a:t>Albert Regu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792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9DA531-60C6-827E-B9CA-01A258A2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AA087F9-DA0F-DBD9-1E37-1B494D5D4F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A107E9-38B5-4C88-58E8-3EF6F53F6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45AD30-8358-2C08-61F0-2435771D0D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AD65F9-086F-768A-7B38-D9B3A1228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72D6E56-A4FC-2E1B-146E-424A9EFCE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81869C-D1F6-15D3-2066-7C14E43827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7147" y="3429000"/>
            <a:ext cx="5463383" cy="275303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5FCAB57-D030-039F-4EB4-1A29B18A12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45487" y="3428999"/>
            <a:ext cx="5495353" cy="275303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F697CD12-DB2C-71BB-189E-934F69B14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: Image Showcase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D4942777-7DFB-E2D6-5F2C-D48FF5B85B88}"/>
              </a:ext>
            </a:extLst>
          </p:cNvPr>
          <p:cNvSpPr txBox="1">
            <a:spLocks/>
          </p:cNvSpPr>
          <p:nvPr/>
        </p:nvSpPr>
        <p:spPr>
          <a:xfrm>
            <a:off x="2347767" y="2187122"/>
            <a:ext cx="1302141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Input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7C47AE7C-8DB6-D627-ACE4-78D570927856}"/>
              </a:ext>
            </a:extLst>
          </p:cNvPr>
          <p:cNvSpPr txBox="1">
            <a:spLocks/>
          </p:cNvSpPr>
          <p:nvPr/>
        </p:nvSpPr>
        <p:spPr>
          <a:xfrm>
            <a:off x="8357035" y="2187122"/>
            <a:ext cx="1672256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1342474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CC9128-544C-231E-22DC-0F07CB1CF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16C4419-0DCD-FBCF-2226-AF7BCA0206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F9440B-E5BE-3F1E-8715-0CA58CC497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887E10-A73B-04A6-E4D1-68E3D4FAC6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C498F7-EECC-A4A4-87D0-0DDD5B367C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052C40-9155-914B-939C-00F90339D0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30D92D-0358-7629-487E-75FBDC2BA5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4479" y="3429000"/>
            <a:ext cx="5468718" cy="275303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DA0EC8-2486-6FEE-F90D-789432044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58804" y="3428999"/>
            <a:ext cx="5468718" cy="275303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4B8C7661-2776-3CE0-7121-A447528D8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: Image Showcase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B1A9CFF2-D09F-5180-E7A3-D9DD2FBAFA6B}"/>
              </a:ext>
            </a:extLst>
          </p:cNvPr>
          <p:cNvSpPr txBox="1">
            <a:spLocks/>
          </p:cNvSpPr>
          <p:nvPr/>
        </p:nvSpPr>
        <p:spPr>
          <a:xfrm>
            <a:off x="2347767" y="2187122"/>
            <a:ext cx="1302141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Input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62B51D7-58C3-F75C-1854-F6410222E996}"/>
              </a:ext>
            </a:extLst>
          </p:cNvPr>
          <p:cNvSpPr txBox="1">
            <a:spLocks/>
          </p:cNvSpPr>
          <p:nvPr/>
        </p:nvSpPr>
        <p:spPr>
          <a:xfrm>
            <a:off x="8357035" y="2187122"/>
            <a:ext cx="1672256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108920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D299C10-52E2-0917-0EF6-E476D03D3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1132F93-2FE7-2422-453B-5AB421E258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15B70A-D605-3811-71E4-80796A88A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41F587-AE42-731C-DD5C-5A2F528891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46AFE2-8362-8B34-CE23-DBAF899FB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9E42124-B7B0-E1CC-D736-308CD605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CD40C-0D65-101B-1006-5C29F9D30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8473" y="3429000"/>
            <a:ext cx="5500730" cy="275303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BDC162F-AF56-A77E-F534-0757AA983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50801" y="3428999"/>
            <a:ext cx="5484724" cy="275303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4A49943F-37CD-0568-677D-3AC91156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: Image Showcase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79264BB6-2EA0-ACED-78F6-4EF74F109C65}"/>
              </a:ext>
            </a:extLst>
          </p:cNvPr>
          <p:cNvSpPr txBox="1">
            <a:spLocks/>
          </p:cNvSpPr>
          <p:nvPr/>
        </p:nvSpPr>
        <p:spPr>
          <a:xfrm>
            <a:off x="2347767" y="2187122"/>
            <a:ext cx="1302141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Input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78452D65-8A61-9B6A-B54E-B2C9C3F2625E}"/>
              </a:ext>
            </a:extLst>
          </p:cNvPr>
          <p:cNvSpPr txBox="1">
            <a:spLocks/>
          </p:cNvSpPr>
          <p:nvPr/>
        </p:nvSpPr>
        <p:spPr>
          <a:xfrm>
            <a:off x="8357035" y="2187122"/>
            <a:ext cx="1672256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3484478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27"/>
            <a:ext cx="12192001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55521" y="-1720"/>
            <a:ext cx="11750040" cy="6840685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6054" y="-1291"/>
            <a:ext cx="3608179" cy="685886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6059728" y="779270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314" y="4480038"/>
            <a:ext cx="12179371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6967085" y="1632660"/>
            <a:ext cx="6857572" cy="3592258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2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oblem: Data-Hungry Models</a:t>
            </a:r>
          </a:p>
        </p:txBody>
      </p:sp>
      <p:graphicFrame>
        <p:nvGraphicFramePr>
          <p:cNvPr id="12" name="Text Placeholder 2">
            <a:extLst>
              <a:ext uri="{FF2B5EF4-FFF2-40B4-BE49-F238E27FC236}">
                <a16:creationId xmlns:a16="http://schemas.microsoft.com/office/drawing/2014/main" id="{68478BB7-66A7-954C-9857-9CA24B40EA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4024424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lution: Leveraging Stable Diffusion &amp; ControlNet</a:t>
            </a:r>
          </a:p>
        </p:txBody>
      </p:sp>
      <p:graphicFrame>
        <p:nvGraphicFramePr>
          <p:cNvPr id="10" name="Text Placeholder 2">
            <a:extLst>
              <a:ext uri="{FF2B5EF4-FFF2-40B4-BE49-F238E27FC236}">
                <a16:creationId xmlns:a16="http://schemas.microsoft.com/office/drawing/2014/main" id="{9917DC25-161F-EB23-24E0-DD0B8EB33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1078883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ataset Integration</a:t>
            </a:r>
          </a:p>
        </p:txBody>
      </p:sp>
      <p:graphicFrame>
        <p:nvGraphicFramePr>
          <p:cNvPr id="8" name="Text Placeholder 2">
            <a:extLst>
              <a:ext uri="{FF2B5EF4-FFF2-40B4-BE49-F238E27FC236}">
                <a16:creationId xmlns:a16="http://schemas.microsoft.com/office/drawing/2014/main" id="{7877E4BC-D49D-5A72-66D5-C2134DF1CE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928997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mparison of Mode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9350" y="1223061"/>
            <a:ext cx="14058901" cy="36833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1: Segmentation mask only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2: Depth map only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3: Segmentation mask + Depth map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FE996B94-E7FD-AFA8-2232-35A8818F7D1D}"/>
              </a:ext>
            </a:extLst>
          </p:cNvPr>
          <p:cNvSpPr txBox="1">
            <a:spLocks/>
          </p:cNvSpPr>
          <p:nvPr/>
        </p:nvSpPr>
        <p:spPr>
          <a:xfrm>
            <a:off x="623312" y="4472437"/>
            <a:ext cx="4152582" cy="3314086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50802" indent="0">
              <a:buFont typeface="Arial" panose="020B0604020202020204" pitchFamily="34" charset="0"/>
              <a:buNone/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We used FID (Fréchet inception distance) to compare models before doing the final training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8F5F5BB-5902-C98D-A079-8B60532E51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3615003"/>
              </p:ext>
            </p:extLst>
          </p:nvPr>
        </p:nvGraphicFramePr>
        <p:xfrm>
          <a:off x="4693758" y="1622745"/>
          <a:ext cx="7203550" cy="5156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58C0284-1566-3B10-20A8-689695FFCCE3}"/>
              </a:ext>
            </a:extLst>
          </p:cNvPr>
          <p:cNvSpPr txBox="1">
            <a:spLocks/>
          </p:cNvSpPr>
          <p:nvPr/>
        </p:nvSpPr>
        <p:spPr>
          <a:xfrm>
            <a:off x="8710524" y="6395556"/>
            <a:ext cx="4152582" cy="3314086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50802" indent="0">
              <a:buFont typeface="Arial" panose="020B0604020202020204" pitchFamily="34" charset="0"/>
              <a:buNone/>
              <a:defRPr sz="3600">
                <a:latin typeface="Arial"/>
              </a:defRPr>
            </a:pPr>
            <a:r>
              <a:rPr lang="en-US" sz="1200" dirty="0">
                <a:latin typeface="+mn-lt"/>
                <a:ea typeface="+mn-ea"/>
                <a:cs typeface="+mn-cs"/>
              </a:rPr>
              <a:t>(Lower is better)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915FC6-5A9C-E3E3-C54D-847DE71F8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D9D3686-5B4D-C31E-6BFB-97B01A09C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032B08-E4A9-FBAE-FEA2-7A45578A5E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955055-8528-B4BE-C207-650C1495A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ACF99A-7FF2-B886-C2FC-4498F2310E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70FD23-CC26-E17D-C270-71032BFD4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177881-37F9-DDC3-A7E3-040011C45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mparison of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DEB9B8-8C56-15A1-D457-E8988F38AE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5050" y="1966011"/>
            <a:ext cx="14058901" cy="3683358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1: Segmentation mask only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69.56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9 seconds</a:t>
            </a:r>
            <a:r>
              <a:rPr lang="ro-RO" sz="2000" dirty="0">
                <a:latin typeface="+mn-lt"/>
                <a:ea typeface="+mn-ea"/>
                <a:cs typeface="+mn-cs"/>
              </a:rPr>
              <a:t> </a:t>
            </a:r>
            <a:r>
              <a:rPr lang="en-US" sz="2000" dirty="0">
                <a:latin typeface="+mn-lt"/>
                <a:ea typeface="+mn-ea"/>
                <a:cs typeface="+mn-cs"/>
              </a:rPr>
              <a:t>I</a:t>
            </a:r>
            <a:r>
              <a:rPr lang="ro-RO" sz="2000" dirty="0">
                <a:latin typeface="+mn-lt"/>
                <a:ea typeface="+mn-ea"/>
                <a:cs typeface="+mn-cs"/>
              </a:rPr>
              <a:t>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2: Depth map only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58.04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1 seconds</a:t>
            </a:r>
            <a:r>
              <a:rPr lang="ro-RO" sz="2000" dirty="0">
                <a:latin typeface="+mn-lt"/>
                <a:ea typeface="+mn-ea"/>
                <a:cs typeface="+mn-cs"/>
              </a:rPr>
              <a:t> I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3: Segmentation mask + Depth map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75.32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2 seconds</a:t>
            </a:r>
            <a:r>
              <a:rPr lang="ro-RO" sz="2000" dirty="0">
                <a:latin typeface="+mn-lt"/>
                <a:ea typeface="+mn-ea"/>
                <a:cs typeface="+mn-cs"/>
              </a:rPr>
              <a:t> I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DFEDE0F-DEFC-5A92-D698-E530618B3161}"/>
              </a:ext>
            </a:extLst>
          </p:cNvPr>
          <p:cNvSpPr txBox="1">
            <a:spLocks/>
          </p:cNvSpPr>
          <p:nvPr/>
        </p:nvSpPr>
        <p:spPr>
          <a:xfrm>
            <a:off x="345050" y="6096415"/>
            <a:ext cx="10453244" cy="60055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76215" indent="0">
              <a:spcAft>
                <a:spcPts val="600"/>
              </a:spcAft>
              <a:buNone/>
              <a:defRPr sz="3600">
                <a:latin typeface="Arial"/>
              </a:defRPr>
            </a:pPr>
            <a:r>
              <a:rPr lang="en-US" sz="1200" dirty="0">
                <a:latin typeface="+mn-lt"/>
                <a:ea typeface="+mn-ea"/>
                <a:cs typeface="+mn-cs"/>
              </a:rPr>
              <a:t>1. </a:t>
            </a:r>
            <a:r>
              <a:rPr lang="ro-RO" sz="1200" dirty="0">
                <a:latin typeface="+mn-lt"/>
                <a:ea typeface="+mn-ea"/>
                <a:cs typeface="+mn-cs"/>
              </a:rPr>
              <a:t>Setup used</a:t>
            </a:r>
            <a:r>
              <a:rPr lang="en-US" sz="1200" dirty="0">
                <a:latin typeface="+mn-lt"/>
                <a:ea typeface="+mn-ea"/>
                <a:cs typeface="+mn-cs"/>
              </a:rPr>
              <a:t>: L40S GPU (362TFLOPs), 16 CPU Cores, 48Gb RAM</a:t>
            </a:r>
          </a:p>
        </p:txBody>
      </p:sp>
    </p:spTree>
    <p:extLst>
      <p:ext uri="{BB962C8B-B14F-4D97-AF65-F5344CB8AC3E}">
        <p14:creationId xmlns:p14="http://schemas.microsoft.com/office/powerpoint/2010/main" val="4389465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F1ADB8-62A9-D651-5731-0C9F7960D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89A1A5E-EF97-B337-B9F0-415ACE7680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4EBC00-7487-C5E6-18A8-55BCC4CC0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A4BAF4-3E60-D9F7-D097-3BD294402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EBF618-0431-BB51-0AEE-7C2FF97F1B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B52BD26-D275-7B58-67FD-1CAFBD253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1D0A50-6D9D-9583-8619-AC68AB804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inal model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F8871F6-8876-FDA5-143A-522AC5BE9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1997943"/>
              </p:ext>
            </p:extLst>
          </p:nvPr>
        </p:nvGraphicFramePr>
        <p:xfrm>
          <a:off x="164662" y="1590740"/>
          <a:ext cx="11732646" cy="5267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857B8CF9-8549-6DEC-88B9-4F2946B7C24B}"/>
              </a:ext>
            </a:extLst>
          </p:cNvPr>
          <p:cNvSpPr txBox="1">
            <a:spLocks/>
          </p:cNvSpPr>
          <p:nvPr/>
        </p:nvSpPr>
        <p:spPr>
          <a:xfrm>
            <a:off x="6433854" y="6479531"/>
            <a:ext cx="4152582" cy="3314086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50802" indent="0">
              <a:buFont typeface="Arial" panose="020B0604020202020204" pitchFamily="34" charset="0"/>
              <a:buNone/>
              <a:defRPr sz="3600">
                <a:latin typeface="Arial"/>
              </a:defRPr>
            </a:pPr>
            <a:r>
              <a:rPr lang="en-US" sz="1200" dirty="0">
                <a:latin typeface="+mn-lt"/>
                <a:ea typeface="+mn-ea"/>
                <a:cs typeface="+mn-cs"/>
              </a:rPr>
              <a:t>(Lower is better)</a:t>
            </a:r>
          </a:p>
        </p:txBody>
      </p:sp>
    </p:spTree>
    <p:extLst>
      <p:ext uri="{BB962C8B-B14F-4D97-AF65-F5344CB8AC3E}">
        <p14:creationId xmlns:p14="http://schemas.microsoft.com/office/powerpoint/2010/main" val="1984512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314824" y="735106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>
              <a:spcBef>
                <a:spcPct val="0"/>
              </a:spcBef>
              <a:defRPr sz="4600">
                <a:solidFill>
                  <a:srgbClr val="FFFFFF"/>
                </a:solidFill>
                <a:latin typeface="Arial"/>
              </a:defRPr>
            </a:pPr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: Image Show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1350682" y="4870824"/>
            <a:ext cx="10005951" cy="14582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algn="l">
              <a:spcBef>
                <a:spcPts val="1000"/>
              </a:spcBef>
              <a:defRPr sz="3600">
                <a:latin typeface="Arial"/>
              </a:defRPr>
            </a:pPr>
            <a:r>
              <a:rPr lang="en-US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ted synthetic traffic scenarios using Stable Diffusion and ControlNet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4CCCF97-F99D-CAD9-E259-723AE4BEC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F1C20B15-684F-24BB-8D11-2295192402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8CF5C3-3A9E-CA5B-2461-3145454F6E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2DC0F8-1133-93EE-35EE-6FD913EE7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E059F7-FD1A-2EDE-888E-FAF84F3744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0C10582-4BA7-306F-267C-4A5A2CADF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erson on a bicycle&#10;&#10;Description automatically generated">
            <a:extLst>
              <a:ext uri="{FF2B5EF4-FFF2-40B4-BE49-F238E27FC236}">
                <a16:creationId xmlns:a16="http://schemas.microsoft.com/office/drawing/2014/main" id="{55D3D482-DDB0-5F1D-10F5-9B240FF88B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06" y="3429000"/>
            <a:ext cx="5506065" cy="2753033"/>
          </a:xfrm>
          <a:prstGeom prst="rect">
            <a:avLst/>
          </a:prstGeom>
        </p:spPr>
      </p:pic>
      <p:pic>
        <p:nvPicPr>
          <p:cNvPr id="14" name="Picture 13" descr="A person riding a bicycle on the street&#10;&#10;Description automatically generated">
            <a:extLst>
              <a:ext uri="{FF2B5EF4-FFF2-40B4-BE49-F238E27FC236}">
                <a16:creationId xmlns:a16="http://schemas.microsoft.com/office/drawing/2014/main" id="{642F1EC2-D327-BDA6-35FF-E718EB8A0D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1" y="3428999"/>
            <a:ext cx="5506065" cy="275303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DF2D51E3-81D3-9658-67D5-2E4922F0D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: Image Showcase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79106EE0-2E02-F190-9B26-A85B9BFC715C}"/>
              </a:ext>
            </a:extLst>
          </p:cNvPr>
          <p:cNvSpPr txBox="1">
            <a:spLocks/>
          </p:cNvSpPr>
          <p:nvPr/>
        </p:nvSpPr>
        <p:spPr>
          <a:xfrm>
            <a:off x="2347767" y="2187122"/>
            <a:ext cx="1302141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Input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40C6CD1F-72F3-4185-79F1-4A44E950FAF7}"/>
              </a:ext>
            </a:extLst>
          </p:cNvPr>
          <p:cNvSpPr txBox="1">
            <a:spLocks/>
          </p:cNvSpPr>
          <p:nvPr/>
        </p:nvSpPr>
        <p:spPr>
          <a:xfrm>
            <a:off x="8357035" y="2187122"/>
            <a:ext cx="1672256" cy="87772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3067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dirty="0">
                <a:latin typeface="+mj-lt"/>
                <a:cs typeface="+mj-cs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803670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</TotalTime>
  <Words>248</Words>
  <Application>Microsoft Office PowerPoint</Application>
  <PresentationFormat>Widescreen</PresentationFormat>
  <Paragraphs>4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ptos</vt:lpstr>
      <vt:lpstr>Aptos Display</vt:lpstr>
      <vt:lpstr>Arial</vt:lpstr>
      <vt:lpstr>Calibri</vt:lpstr>
      <vt:lpstr>Raleway</vt:lpstr>
      <vt:lpstr>Roboto Light</vt:lpstr>
      <vt:lpstr>Office Theme</vt:lpstr>
      <vt:lpstr>think-cell Slide</vt:lpstr>
      <vt:lpstr>Stable Diffusion Data Augmentation</vt:lpstr>
      <vt:lpstr>Problem: Data-Hungry Models</vt:lpstr>
      <vt:lpstr>Solution: Leveraging Stable Diffusion &amp; ControlNet</vt:lpstr>
      <vt:lpstr>Dataset Integration</vt:lpstr>
      <vt:lpstr>Comparison of Models</vt:lpstr>
      <vt:lpstr>Comparison of Models</vt:lpstr>
      <vt:lpstr>Final model</vt:lpstr>
      <vt:lpstr>Demo: Image Showcase</vt:lpstr>
      <vt:lpstr>Demo: Image Showcase</vt:lpstr>
      <vt:lpstr>Demo: Image Showcase</vt:lpstr>
      <vt:lpstr>Demo: Image Showcase</vt:lpstr>
      <vt:lpstr>Demo: Image Showcas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itrut Rosca</dc:creator>
  <cp:lastModifiedBy>Mitrut Rosca</cp:lastModifiedBy>
  <cp:revision>10</cp:revision>
  <dcterms:created xsi:type="dcterms:W3CDTF">2024-12-15T21:43:28Z</dcterms:created>
  <dcterms:modified xsi:type="dcterms:W3CDTF">2025-01-16T09:22:15Z</dcterms:modified>
</cp:coreProperties>
</file>